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9"/>
  </p:notesMasterIdLst>
  <p:handoutMasterIdLst>
    <p:handoutMasterId r:id="rId20"/>
  </p:handoutMasterIdLst>
  <p:sldIdLst>
    <p:sldId id="5881" r:id="rId5"/>
    <p:sldId id="5882" r:id="rId6"/>
    <p:sldId id="5876" r:id="rId7"/>
    <p:sldId id="5880" r:id="rId8"/>
    <p:sldId id="5878" r:id="rId9"/>
    <p:sldId id="302" r:id="rId10"/>
    <p:sldId id="981" r:id="rId11"/>
    <p:sldId id="5874" r:id="rId12"/>
    <p:sldId id="5873" r:id="rId13"/>
    <p:sldId id="5872" r:id="rId14"/>
    <p:sldId id="980" r:id="rId15"/>
    <p:sldId id="262" r:id="rId16"/>
    <p:sldId id="263" r:id="rId17"/>
    <p:sldId id="5870" r:id="rId18"/>
  </p:sldIdLst>
  <p:sldSz cx="9906000" cy="6858000" type="A4"/>
  <p:notesSz cx="6858000" cy="9144000"/>
  <p:defaultTextStyle>
    <a:defPPr>
      <a:defRPr lang="es-E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29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3089E4-9ED6-4A2F-DAD5-877D50EDD632}" v="103" dt="2023-12-04T15:16:10.051"/>
    <p1510:client id="{A3114983-C267-9057-8365-FB325BDEAF15}" v="4" dt="2023-01-04T13:12:54.535"/>
    <p1510:client id="{EE69AE78-D663-02AF-2C2B-2EA2ABA57F2A}" v="6" dt="2022-09-22T07:25:52.3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1334" y="5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CEA46484-DBEA-461F-A3EF-6F72B80B3B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7D223C7-63E2-42C7-9DD8-0ECC9DE039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695347-BAA7-49D2-9F61-C4EF07AF2A45}" type="datetimeFigureOut">
              <a:rPr lang="en-GB" smtClean="0"/>
              <a:t>23/12/2023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34A616E-02DE-4BB3-8368-F0D687C6F8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560D31F-432B-4E4E-A971-0E6C24284A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81D87-FA4C-490E-B4A6-ECE949FDD0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540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59CE24-C098-4D6F-8853-4FBA6FCE2500}" type="datetimeFigureOut">
              <a:rPr lang="en-GB" smtClean="0"/>
              <a:t>23/12/2023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2CA7F-29D6-4EB5-A290-EFF6FFCE4A6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019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22CA7F-29D6-4EB5-A290-EFF6FFCE4A6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1804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22CA7F-29D6-4EB5-A290-EFF6FFCE4A6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24553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1652CB-AC20-425F-9D6D-B7457A359E3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963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4760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72F5227-39BE-F54D-BEEC-3360BCF722E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042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61992" y="242423"/>
            <a:ext cx="1644008" cy="11214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A6FB5F-C2AF-134F-AC42-492E27CAB31D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114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987958D-6396-EB45-B080-2966513FC99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83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3210D92-D7EA-4941-8360-FC572DD0FA55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8795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48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0" r:id="rId3"/>
    <p:sldLayoutId id="2147483651" r:id="rId4"/>
    <p:sldLayoutId id="2147483652" r:id="rId5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9.png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0.png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12168F-BBB5-C845-B138-AB550A9E1E14}"/>
              </a:ext>
            </a:extLst>
          </p:cNvPr>
          <p:cNvSpPr txBox="1"/>
          <p:nvPr/>
        </p:nvSpPr>
        <p:spPr>
          <a:xfrm>
            <a:off x="1018095" y="2579098"/>
            <a:ext cx="3410713" cy="1142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413" b="1" dirty="0">
                <a:solidFill>
                  <a:srgbClr val="921824"/>
                </a:solidFill>
                <a:latin typeface="Georgia" panose="02040502050405020303" pitchFamily="18" charset="0"/>
              </a:rPr>
              <a:t>Social Media Marketing</a:t>
            </a:r>
            <a:endParaRPr lang="en" sz="3413" b="1" dirty="0">
              <a:solidFill>
                <a:srgbClr val="921824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5109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593E1EC-85F5-42B6-BBD5-3F5DB7800B83}"/>
              </a:ext>
            </a:extLst>
          </p:cNvPr>
          <p:cNvSpPr txBox="1">
            <a:spLocks/>
          </p:cNvSpPr>
          <p:nvPr/>
        </p:nvSpPr>
        <p:spPr bwMode="auto">
          <a:xfrm>
            <a:off x="2658872" y="3077414"/>
            <a:ext cx="4588255" cy="703172"/>
          </a:xfrm>
          <a:prstGeom prst="rect">
            <a:avLst/>
          </a:prstGeom>
          <a:noFill/>
          <a:ln>
            <a:noFill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2000" b="1" dirty="0">
                <a:solidFill>
                  <a:srgbClr val="90292A"/>
                </a:solidFill>
                <a:latin typeface="Georgia"/>
                <a:ea typeface="Lato"/>
                <a:cs typeface="Arial"/>
              </a:rPr>
              <a:t>Digital Marketing Strategy</a:t>
            </a:r>
          </a:p>
        </p:txBody>
      </p:sp>
    </p:spTree>
    <p:extLst>
      <p:ext uri="{BB962C8B-B14F-4D97-AF65-F5344CB8AC3E}">
        <p14:creationId xmlns:p14="http://schemas.microsoft.com/office/powerpoint/2010/main" val="333957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19B2D728-110A-434C-9EF3-41C4F57A1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19B2D728-110A-434C-9EF3-41C4F57A1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1">
            <a:extLst>
              <a:ext uri="{FF2B5EF4-FFF2-40B4-BE49-F238E27FC236}">
                <a16:creationId xmlns:a16="http://schemas.microsoft.com/office/drawing/2014/main" id="{11626B29-A00A-4EC4-B849-DACF8BFCA82D}"/>
              </a:ext>
            </a:extLst>
          </p:cNvPr>
          <p:cNvSpPr txBox="1">
            <a:spLocks/>
          </p:cNvSpPr>
          <p:nvPr/>
        </p:nvSpPr>
        <p:spPr>
          <a:xfrm>
            <a:off x="322452" y="2170205"/>
            <a:ext cx="4724004" cy="404628"/>
          </a:xfrm>
          <a:prstGeom prst="rect">
            <a:avLst/>
          </a:prstGeom>
        </p:spPr>
        <p:txBody>
          <a:bodyPr vert="horz" lIns="74295" tIns="37148" rIns="74295" bIns="3714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sz="2000" b="1" dirty="0">
                <a:solidFill>
                  <a:srgbClr val="90292A"/>
                </a:solidFill>
                <a:latin typeface="Georgia"/>
                <a:cs typeface="Arial"/>
              </a:rPr>
              <a:t>Applied Digital Marketing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FD6F0BC-6EE5-F30D-57D6-AAF10B024285}"/>
              </a:ext>
            </a:extLst>
          </p:cNvPr>
          <p:cNvSpPr txBox="1">
            <a:spLocks/>
          </p:cNvSpPr>
          <p:nvPr/>
        </p:nvSpPr>
        <p:spPr>
          <a:xfrm>
            <a:off x="1675018" y="2936014"/>
            <a:ext cx="3231391" cy="45544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411428" rtl="0" eaLnBrk="1" latinLnBrk="0" hangingPunct="1">
              <a:spcBef>
                <a:spcPct val="20000"/>
              </a:spcBef>
              <a:buFont typeface="Arial"/>
              <a:buNone/>
              <a:defRPr sz="1079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668572" indent="-257144" algn="l" defTabSz="411428" rtl="0" eaLnBrk="1" latinLnBrk="0" hangingPunct="1">
              <a:spcBef>
                <a:spcPct val="20000"/>
              </a:spcBef>
              <a:buFont typeface="Arial"/>
              <a:buChar char="–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8572" indent="-205716" algn="l" defTabSz="411428" rtl="0" eaLnBrk="1" latinLnBrk="0" hangingPunct="1">
              <a:spcBef>
                <a:spcPct val="20000"/>
              </a:spcBef>
              <a:buFont typeface="Arial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1" indent="-205716" algn="l" defTabSz="411428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1429" indent="-205716" algn="l" defTabSz="411428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2858" indent="-205716" algn="l" defTabSz="41142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4286" indent="-205716" algn="l" defTabSz="41142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85717" indent="-205716" algn="l" defTabSz="41142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97144" indent="-205716" algn="l" defTabSz="411428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400" dirty="0"/>
              <a:t>New Digital Marketing Conce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5648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wn Arrow 1"/>
          <p:cNvSpPr/>
          <p:nvPr/>
        </p:nvSpPr>
        <p:spPr>
          <a:xfrm>
            <a:off x="1362075" y="1536729"/>
            <a:ext cx="2662238" cy="1560195"/>
          </a:xfrm>
          <a:prstGeom prst="downArrow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6"/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0" y="2316163"/>
            <a:ext cx="1362075" cy="309562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625" b="1" dirty="0">
                <a:solidFill>
                  <a:schemeClr val="bg1"/>
                </a:solidFill>
                <a:latin typeface="Georgia" panose="02040502050405020303" pitchFamily="18" charset="0"/>
              </a:rPr>
              <a:t>Traditional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1718072" y="3647945"/>
            <a:ext cx="1950244" cy="225361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u="sng" dirty="0">
                <a:solidFill>
                  <a:srgbClr val="90292A"/>
                </a:solidFill>
                <a:latin typeface="Georgia"/>
                <a:cs typeface="Arial"/>
              </a:rPr>
              <a:t>5Ps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Product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Price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Place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Position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promotion</a:t>
            </a:r>
          </a:p>
        </p:txBody>
      </p:sp>
      <p:sp>
        <p:nvSpPr>
          <p:cNvPr id="7" name="Down Arrow 6"/>
          <p:cNvSpPr/>
          <p:nvPr/>
        </p:nvSpPr>
        <p:spPr>
          <a:xfrm rot="10800000">
            <a:off x="5200649" y="3607702"/>
            <a:ext cx="2662238" cy="1560195"/>
          </a:xfrm>
          <a:prstGeom prst="downArrow">
            <a:avLst/>
          </a:prstGeom>
          <a:solidFill>
            <a:srgbClr val="90292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6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5850730" y="4233018"/>
            <a:ext cx="1362075" cy="309563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bg1"/>
                </a:solidFill>
                <a:latin typeface="Georgia"/>
              </a:rPr>
              <a:t>Digital</a:t>
            </a: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5556646" y="1335513"/>
            <a:ext cx="1950244" cy="227218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u="sng" dirty="0">
                <a:solidFill>
                  <a:srgbClr val="90292A"/>
                </a:solidFill>
                <a:latin typeface="Georgia"/>
                <a:cs typeface="Arial"/>
              </a:rPr>
              <a:t>5Cs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Content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Channel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Campaign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Conversation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Conversion</a:t>
            </a:r>
          </a:p>
        </p:txBody>
      </p:sp>
    </p:spTree>
    <p:extLst>
      <p:ext uri="{BB962C8B-B14F-4D97-AF65-F5344CB8AC3E}">
        <p14:creationId xmlns:p14="http://schemas.microsoft.com/office/powerpoint/2010/main" val="25433243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48412" y="1225485"/>
            <a:ext cx="7588577" cy="432690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6"/>
          </a:p>
        </p:txBody>
      </p:sp>
      <p:sp>
        <p:nvSpPr>
          <p:cNvPr id="3" name="Plus 2"/>
          <p:cNvSpPr/>
          <p:nvPr/>
        </p:nvSpPr>
        <p:spPr>
          <a:xfrm>
            <a:off x="1160188" y="1627307"/>
            <a:ext cx="617646" cy="545955"/>
          </a:xfrm>
          <a:prstGeom prst="mathPlus">
            <a:avLst/>
          </a:prstGeom>
          <a:solidFill>
            <a:srgbClr val="90292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6"/>
          </a:p>
        </p:txBody>
      </p:sp>
      <p:sp>
        <p:nvSpPr>
          <p:cNvPr id="4" name="Minus 3"/>
          <p:cNvSpPr/>
          <p:nvPr/>
        </p:nvSpPr>
        <p:spPr>
          <a:xfrm>
            <a:off x="7346892" y="1570033"/>
            <a:ext cx="617645" cy="647988"/>
          </a:xfrm>
          <a:prstGeom prst="mathMinus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16"/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5102171" y="2575084"/>
            <a:ext cx="2973644" cy="2722274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u="sng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Traditional Marketing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-sided communication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Mass communication media usually used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-intense communication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ly available but not on-demand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 reach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-able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expensive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307882" y="2573208"/>
            <a:ext cx="2973645" cy="272415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u="sng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igital Marketing</a:t>
            </a: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Interactive communication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chemeClr val="tx1"/>
                </a:solidFill>
                <a:latin typeface="Arial"/>
                <a:cs typeface="Arial"/>
              </a:rPr>
              <a:t>Internet channels the main medium of communication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er and adaptable communication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ly available and on-demand upon request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reach</a:t>
            </a:r>
          </a:p>
          <a:p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able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740996" y="2115699"/>
            <a:ext cx="0" cy="272227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23520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CCC5A2DA-1127-4387-888B-E3BFF44543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CCC5A2DA-1127-4387-888B-E3BFF4454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7A9AC744-B90A-4A9C-A5F4-611AE7CCD866}"/>
              </a:ext>
            </a:extLst>
          </p:cNvPr>
          <p:cNvSpPr/>
          <p:nvPr/>
        </p:nvSpPr>
        <p:spPr>
          <a:xfrm>
            <a:off x="3137200" y="3136612"/>
            <a:ext cx="36315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01457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12168F-BBB5-C845-B138-AB550A9E1E14}"/>
              </a:ext>
            </a:extLst>
          </p:cNvPr>
          <p:cNvSpPr txBox="1"/>
          <p:nvPr/>
        </p:nvSpPr>
        <p:spPr>
          <a:xfrm>
            <a:off x="1065229" y="2857625"/>
            <a:ext cx="5373278" cy="113877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400" b="1" dirty="0">
                <a:solidFill>
                  <a:srgbClr val="921824"/>
                </a:solidFill>
                <a:latin typeface="Georgia"/>
              </a:rPr>
              <a:t>Digital Marketing </a:t>
            </a:r>
            <a:r>
              <a:rPr lang="en-US" sz="3400" b="1">
                <a:solidFill>
                  <a:srgbClr val="921824"/>
                </a:solidFill>
                <a:latin typeface="Georgia"/>
              </a:rPr>
              <a:t>Strategy </a:t>
            </a:r>
            <a:endParaRPr lang="en" sz="3413" b="1" dirty="0">
              <a:solidFill>
                <a:srgbClr val="921824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835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90930" y="1044405"/>
            <a:ext cx="7429500" cy="669324"/>
          </a:xfrm>
          <a:prstGeom prst="rect">
            <a:avLst/>
          </a:prstGeom>
        </p:spPr>
        <p:txBody>
          <a:bodyPr lIns="91440" tIns="45720" rIns="91440" bIns="45720" anchor="t"/>
          <a:lstStyle/>
          <a:p>
            <a:pPr algn="l"/>
            <a:r>
              <a:rPr lang="en-GB" sz="2000" b="1" dirty="0">
                <a:solidFill>
                  <a:srgbClr val="90292A"/>
                </a:solidFill>
                <a:latin typeface="Georgia"/>
              </a:rPr>
              <a:t>Introduction</a:t>
            </a: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48966A8E-C896-4864-A1D9-0334129440D0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907060" y="1794957"/>
            <a:ext cx="7491900" cy="2462519"/>
          </a:xfrm>
          <a:prstGeom prst="rect">
            <a:avLst/>
          </a:prstGeom>
        </p:spPr>
        <p:txBody>
          <a:bodyPr vert="horz" lIns="74295" tIns="37148" rIns="74295" bIns="37148" rtlCol="0" anchor="t">
            <a:noAutofit/>
          </a:bodyPr>
          <a:lstStyle/>
          <a:p>
            <a:pPr>
              <a:buNone/>
            </a:pPr>
            <a:r>
              <a:rPr lang="en-US" sz="1400" b="1" dirty="0">
                <a:latin typeface="Arial"/>
                <a:ea typeface="+mn-lt"/>
                <a:cs typeface="+mn-lt"/>
              </a:rPr>
              <a:t>Social Media Marketing</a:t>
            </a:r>
            <a:endParaRPr lang="en-US" sz="1400" dirty="0">
              <a:latin typeface="Arial"/>
              <a:ea typeface="Calibri"/>
              <a:cs typeface="Calibri"/>
            </a:endParaRPr>
          </a:p>
          <a:p>
            <a:pPr>
              <a:buNone/>
            </a:pPr>
            <a:r>
              <a:rPr lang="en-US" sz="1400" dirty="0">
                <a:latin typeface="Arial"/>
                <a:ea typeface="+mn-lt"/>
                <a:cs typeface="+mn-lt"/>
              </a:rPr>
              <a:t>Promote any product or service on the social media channels. </a:t>
            </a:r>
            <a:endParaRPr lang="en-US" sz="1400" dirty="0">
              <a:latin typeface="Arial"/>
              <a:ea typeface="Calibri"/>
              <a:cs typeface="Calibri"/>
            </a:endParaRPr>
          </a:p>
          <a:p>
            <a:pPr>
              <a:buNone/>
            </a:pPr>
            <a:endParaRPr lang="en-US" sz="1400" dirty="0">
              <a:latin typeface="Arial"/>
              <a:ea typeface="+mn-lt"/>
              <a:cs typeface="+mn-lt"/>
            </a:endParaRPr>
          </a:p>
          <a:p>
            <a:pPr>
              <a:buNone/>
            </a:pPr>
            <a:r>
              <a:rPr lang="en-US" sz="1400" b="1" dirty="0">
                <a:latin typeface="Arial"/>
                <a:ea typeface="+mn-lt"/>
                <a:cs typeface="+mn-lt"/>
              </a:rPr>
              <a:t>Social Media Management</a:t>
            </a:r>
            <a:endParaRPr lang="en-US" sz="1400" dirty="0">
              <a:latin typeface="Arial"/>
              <a:ea typeface="Calibri"/>
              <a:cs typeface="Calibri"/>
            </a:endParaRPr>
          </a:p>
          <a:p>
            <a:pPr marL="0" indent="0">
              <a:buNone/>
            </a:pPr>
            <a:r>
              <a:rPr lang="en-US" sz="1400" dirty="0">
                <a:latin typeface="Arial"/>
                <a:ea typeface="+mn-lt"/>
                <a:cs typeface="+mn-lt"/>
              </a:rPr>
              <a:t>Manage social media accounts and pages in terms of setting the plan, content strategy, budget planning, implementing advertising campaigns, generating reports, and more. </a:t>
            </a:r>
          </a:p>
        </p:txBody>
      </p:sp>
    </p:spTree>
    <p:extLst>
      <p:ext uri="{BB962C8B-B14F-4D97-AF65-F5344CB8AC3E}">
        <p14:creationId xmlns:p14="http://schemas.microsoft.com/office/powerpoint/2010/main" val="33011856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18E0BF5-1E1E-7A2D-FFAC-63C138E56E40}"/>
              </a:ext>
            </a:extLst>
          </p:cNvPr>
          <p:cNvSpPr txBox="1"/>
          <p:nvPr/>
        </p:nvSpPr>
        <p:spPr>
          <a:xfrm>
            <a:off x="1609627" y="2030818"/>
            <a:ext cx="6053913" cy="179857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4295" tIns="37148" rIns="74295" bIns="3714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latin typeface="Arial"/>
                <a:cs typeface="Arial"/>
              </a:rPr>
              <a:t>Create well-targeted campaigns across social media platforms and other online mediums.​</a:t>
            </a:r>
          </a:p>
          <a:p>
            <a:pPr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1775" indent="-231775">
              <a:buFont typeface="Wingdings"/>
              <a:buChar char="ü"/>
            </a:pPr>
            <a:r>
              <a:rPr lang="en-US" sz="1400" dirty="0">
                <a:latin typeface="Arial"/>
                <a:cs typeface="Arial"/>
              </a:rPr>
              <a:t>Reach and influence​</a:t>
            </a:r>
          </a:p>
          <a:p>
            <a:pPr marL="231775" indent="-231775">
              <a:buFont typeface="Wingdings"/>
              <a:buChar char="ü"/>
            </a:pPr>
            <a:r>
              <a:rPr lang="en-US" sz="1400" dirty="0">
                <a:latin typeface="Arial"/>
                <a:cs typeface="Arial"/>
              </a:rPr>
              <a:t>Increase potential traffic and sales</a:t>
            </a:r>
          </a:p>
          <a:p>
            <a:pPr marL="231775" indent="-231775">
              <a:buFont typeface="Wingdings"/>
              <a:buChar char="ü"/>
            </a:pPr>
            <a:r>
              <a:rPr lang="en-US" sz="1400" dirty="0">
                <a:latin typeface="Arial"/>
                <a:cs typeface="Arial"/>
              </a:rPr>
              <a:t>Improve reputation​</a:t>
            </a:r>
          </a:p>
          <a:p>
            <a:pPr marL="231775" indent="-231775">
              <a:buFont typeface="Wingdings"/>
              <a:buChar char="ü"/>
            </a:pPr>
            <a:r>
              <a:rPr lang="en-US" sz="1400" dirty="0">
                <a:latin typeface="Arial"/>
                <a:cs typeface="Arial"/>
              </a:rPr>
              <a:t>Grow more exposure</a:t>
            </a:r>
          </a:p>
          <a:p>
            <a:pPr marL="231775" indent="-231775">
              <a:buFont typeface="Wingdings"/>
              <a:buChar char="ü"/>
            </a:pPr>
            <a:r>
              <a:rPr lang="en-US" sz="1400" dirty="0">
                <a:latin typeface="Arial"/>
                <a:cs typeface="Arial"/>
              </a:rPr>
              <a:t>Retain custom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E1AC37-9D88-4729-F16B-2218F0164C5D}"/>
              </a:ext>
            </a:extLst>
          </p:cNvPr>
          <p:cNvSpPr txBox="1"/>
          <p:nvPr/>
        </p:nvSpPr>
        <p:spPr>
          <a:xfrm>
            <a:off x="1609627" y="1277006"/>
            <a:ext cx="4108453" cy="3827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74295" tIns="37148" rIns="74295" bIns="37148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dirty="0">
                <a:solidFill>
                  <a:srgbClr val="90292A"/>
                </a:solidFill>
                <a:latin typeface="Georgia"/>
              </a:rPr>
              <a:t>Social Media Management</a:t>
            </a:r>
            <a:endParaRPr lang="en-US" sz="2000" dirty="0">
              <a:solidFill>
                <a:srgbClr val="90292A"/>
              </a:solidFill>
              <a:latin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3544959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F0CDBD-21D8-4306-BC2A-9F125946247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470286" y="1524728"/>
            <a:ext cx="5702641" cy="2649112"/>
          </a:xfrm>
          <a:prstGeom prst="rect">
            <a:avLst/>
          </a:prstGeom>
        </p:spPr>
        <p:txBody>
          <a:bodyPr vert="horz" lIns="74295" tIns="37148" rIns="74295" bIns="37148" rtlCol="0" anchor="t">
            <a:noAutofit/>
          </a:bodyPr>
          <a:lstStyle/>
          <a:p>
            <a:pPr fontAlgn="base"/>
            <a:r>
              <a:rPr lang="en-US" sz="1400" i="1" dirty="0">
                <a:latin typeface="Arial"/>
                <a:cs typeface="Arial"/>
              </a:rPr>
              <a:t>Your social media strategy must be consistent in voice</a:t>
            </a:r>
            <a:br>
              <a:rPr lang="en-US" sz="1400" i="1" dirty="0">
                <a:latin typeface="Arial"/>
                <a:cs typeface="Arial"/>
              </a:rPr>
            </a:br>
            <a:r>
              <a:rPr lang="en-US" sz="1400" i="1" dirty="0">
                <a:latin typeface="Arial"/>
                <a:cs typeface="Arial"/>
              </a:rPr>
              <a:t>and brand identity, positive, honest, transparent and human.</a:t>
            </a:r>
          </a:p>
          <a:p>
            <a:pPr algn="l" rtl="0" fontAlgn="base"/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fontAlgn="base"/>
            <a:r>
              <a:rPr lang="en-US" sz="1400" dirty="0">
                <a:latin typeface="Arial"/>
                <a:cs typeface="Arial"/>
              </a:rPr>
              <a:t>The social media platforms speak to consumers.</a:t>
            </a:r>
            <a:endParaRPr lang="en-US" sz="1400" i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17366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19B2D728-110A-434C-9EF3-41C4F57A1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19B2D728-110A-434C-9EF3-41C4F57A1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1">
            <a:extLst>
              <a:ext uri="{FF2B5EF4-FFF2-40B4-BE49-F238E27FC236}">
                <a16:creationId xmlns:a16="http://schemas.microsoft.com/office/drawing/2014/main" id="{11626B29-A00A-4EC4-B849-DACF8BFCA82D}"/>
              </a:ext>
            </a:extLst>
          </p:cNvPr>
          <p:cNvSpPr txBox="1">
            <a:spLocks/>
          </p:cNvSpPr>
          <p:nvPr/>
        </p:nvSpPr>
        <p:spPr>
          <a:xfrm>
            <a:off x="907726" y="3024372"/>
            <a:ext cx="4724004" cy="404628"/>
          </a:xfrm>
          <a:prstGeom prst="rect">
            <a:avLst/>
          </a:prstGeom>
        </p:spPr>
        <p:txBody>
          <a:bodyPr vert="horz" lIns="74295" tIns="37148" rIns="74295" bIns="3714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sz="2000" b="1" dirty="0">
                <a:solidFill>
                  <a:srgbClr val="90292A"/>
                </a:solidFill>
                <a:latin typeface="Georgia"/>
                <a:cs typeface="Arial"/>
              </a:rPr>
              <a:t>Some Digital Insights</a:t>
            </a:r>
          </a:p>
        </p:txBody>
      </p:sp>
    </p:spTree>
    <p:extLst>
      <p:ext uri="{BB962C8B-B14F-4D97-AF65-F5344CB8AC3E}">
        <p14:creationId xmlns:p14="http://schemas.microsoft.com/office/powerpoint/2010/main" val="3929207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19B2D728-110A-434C-9EF3-41C4F57A1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19B2D728-110A-434C-9EF3-41C4F57A1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8">
            <a:extLst>
              <a:ext uri="{FF2B5EF4-FFF2-40B4-BE49-F238E27FC236}">
                <a16:creationId xmlns:a16="http://schemas.microsoft.com/office/drawing/2014/main" id="{52B07407-DE53-359A-984F-42134E8985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33710" y="1527186"/>
            <a:ext cx="22288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r>
              <a:rPr lang="en-US" alt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Global Figur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6AD926-F69D-61AE-EF3C-8830B881629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6629" b="10000"/>
          <a:stretch/>
        </p:blipFill>
        <p:spPr>
          <a:xfrm>
            <a:off x="776010" y="2048867"/>
            <a:ext cx="6686550" cy="27602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9A43135-0E2A-FAC9-5411-C5129BAFA241}"/>
              </a:ext>
            </a:extLst>
          </p:cNvPr>
          <p:cNvSpPr/>
          <p:nvPr/>
        </p:nvSpPr>
        <p:spPr>
          <a:xfrm>
            <a:off x="776010" y="1514909"/>
            <a:ext cx="3714750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b="1" dirty="0">
                <a:latin typeface="Arial"/>
                <a:cs typeface="Arial"/>
              </a:rPr>
              <a:t>Social Media Users vs. Population</a:t>
            </a:r>
            <a:endParaRPr lang="en-US" sz="1400" b="1" i="1">
              <a:latin typeface="Arial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961D42-2D09-E417-B742-97C50FDE6D08}"/>
              </a:ext>
            </a:extLst>
          </p:cNvPr>
          <p:cNvSpPr/>
          <p:nvPr/>
        </p:nvSpPr>
        <p:spPr>
          <a:xfrm>
            <a:off x="2160926" y="4958285"/>
            <a:ext cx="5306442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i="1" dirty="0">
                <a:solidFill>
                  <a:srgbClr val="90292A"/>
                </a:solidFill>
                <a:latin typeface="Arial"/>
                <a:cs typeface="Arial"/>
              </a:rPr>
              <a:t>Active social media users as a percentage of total population</a:t>
            </a:r>
          </a:p>
          <a:p>
            <a:pPr algn="r"/>
            <a:r>
              <a:rPr lang="en-US" sz="1200" i="1" dirty="0">
                <a:solidFill>
                  <a:srgbClr val="90292A"/>
                </a:solidFill>
                <a:latin typeface="Arial"/>
                <a:cs typeface="Arial"/>
              </a:rPr>
              <a:t>Note: Users may not represent unique individuals</a:t>
            </a:r>
          </a:p>
        </p:txBody>
      </p:sp>
    </p:spTree>
    <p:extLst>
      <p:ext uri="{BB962C8B-B14F-4D97-AF65-F5344CB8AC3E}">
        <p14:creationId xmlns:p14="http://schemas.microsoft.com/office/powerpoint/2010/main" val="31689224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19B2D728-110A-434C-9EF3-41C4F57A1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19B2D728-110A-434C-9EF3-41C4F57A1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99B3C882-ECA6-9874-F022-C34CAD67A0C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8028" b="10001"/>
          <a:stretch/>
        </p:blipFill>
        <p:spPr>
          <a:xfrm>
            <a:off x="676741" y="2100479"/>
            <a:ext cx="6564015" cy="26570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8">
            <a:extLst>
              <a:ext uri="{FF2B5EF4-FFF2-40B4-BE49-F238E27FC236}">
                <a16:creationId xmlns:a16="http://schemas.microsoft.com/office/drawing/2014/main" id="{BC9F361E-1D37-1087-0411-503089660B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11906" y="1539464"/>
            <a:ext cx="22288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r>
              <a:rPr lang="en-US" altLang="en-US" sz="14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Global Figur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4B8DCD-F4B5-B1CC-9E08-1D9DC2C4E822}"/>
              </a:ext>
            </a:extLst>
          </p:cNvPr>
          <p:cNvSpPr/>
          <p:nvPr/>
        </p:nvSpPr>
        <p:spPr>
          <a:xfrm>
            <a:off x="676741" y="1527186"/>
            <a:ext cx="3714750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 b="1" dirty="0">
                <a:latin typeface="Arial"/>
                <a:cs typeface="Arial"/>
              </a:rPr>
              <a:t>The World’s Most Used Social Platforms</a:t>
            </a:r>
            <a:endParaRPr lang="en-US" sz="1400" b="1" i="1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39864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19B2D728-110A-434C-9EF3-41C4F57A12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19B2D728-110A-434C-9EF3-41C4F57A12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8">
            <a:extLst>
              <a:ext uri="{FF2B5EF4-FFF2-40B4-BE49-F238E27FC236}">
                <a16:creationId xmlns:a16="http://schemas.microsoft.com/office/drawing/2014/main" id="{FEF5596E-FB53-2FCC-0BA8-AEC65D1C25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62877" y="5023337"/>
            <a:ext cx="606742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r>
              <a:rPr lang="en-US" altLang="en-US" sz="1300" i="1" dirty="0">
                <a:latin typeface="Helvetica" panose="020B0604020202020204" pitchFamily="34" charset="0"/>
                <a:cs typeface="Helvetica" panose="020B0604020202020204" pitchFamily="34" charset="0"/>
              </a:rPr>
              <a:t>Percentage of users of each social media platform who use other platform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3017F1-60C4-F6DE-6CA1-CFC932407DB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7237" b="12243"/>
          <a:stretch/>
        </p:blipFill>
        <p:spPr>
          <a:xfrm>
            <a:off x="246414" y="1739992"/>
            <a:ext cx="7583889" cy="30079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B684650-1D78-7874-F841-BC0518887299}"/>
              </a:ext>
            </a:extLst>
          </p:cNvPr>
          <p:cNvSpPr txBox="1"/>
          <p:nvPr/>
        </p:nvSpPr>
        <p:spPr>
          <a:xfrm>
            <a:off x="246413" y="1189842"/>
            <a:ext cx="5539666" cy="305854"/>
          </a:xfrm>
          <a:prstGeom prst="rect">
            <a:avLst/>
          </a:prstGeom>
          <a:noFill/>
        </p:spPr>
        <p:txBody>
          <a:bodyPr wrap="square" lIns="74295" tIns="37148" rIns="74295" bIns="37148" anchor="t">
            <a:spAutoFit/>
          </a:bodyPr>
          <a:lstStyle/>
          <a:p>
            <a:pPr>
              <a:defRPr/>
            </a:pPr>
            <a:r>
              <a:rPr lang="en-US" sz="1500" b="1" dirty="0">
                <a:latin typeface="Arial"/>
                <a:ea typeface="+mj-ea"/>
                <a:cs typeface="Arial"/>
              </a:rPr>
              <a:t>Social Media Platforms | User Overlaps </a:t>
            </a:r>
            <a:endParaRPr lang="en-US" sz="15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55177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Rojo naranja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zni xmlns="fac5c5d6-3f40-4888-827f-2feba602e379" xsi:nil="true"/>
    <f0ly xmlns="fac5c5d6-3f40-4888-827f-2feba602e379">
      <UserInfo>
        <DisplayName/>
        <AccountId xsi:nil="true"/>
        <AccountType/>
      </UserInfo>
    </f0ly>
    <SharedWithUsers xmlns="0323e3e7-18dc-45e6-99d2-53fab8d99a6d">
      <UserInfo>
        <DisplayName/>
        <AccountId xsi:nil="true"/>
        <AccountType/>
      </UserInfo>
    </SharedWithUsers>
    <lcf76f155ced4ddcb4097134ff3c332f xmlns="fac5c5d6-3f40-4888-827f-2feba602e379">
      <Terms xmlns="http://schemas.microsoft.com/office/infopath/2007/PartnerControls"/>
    </lcf76f155ced4ddcb4097134ff3c332f>
    <TaxCatchAll xmlns="0323e3e7-18dc-45e6-99d2-53fab8d99a6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27C33CFCA74046A0A633136646FD5F" ma:contentTypeVersion="20" ma:contentTypeDescription="Create a new document." ma:contentTypeScope="" ma:versionID="d0a4f56e1333b37715db1ca526836c42">
  <xsd:schema xmlns:xsd="http://www.w3.org/2001/XMLSchema" xmlns:xs="http://www.w3.org/2001/XMLSchema" xmlns:p="http://schemas.microsoft.com/office/2006/metadata/properties" xmlns:ns2="fac5c5d6-3f40-4888-827f-2feba602e379" xmlns:ns3="0323e3e7-18dc-45e6-99d2-53fab8d99a6d" targetNamespace="http://schemas.microsoft.com/office/2006/metadata/properties" ma:root="true" ma:fieldsID="f81d95c457976425973bde8a22d6186a" ns2:_="" ns3:_="">
    <xsd:import namespace="fac5c5d6-3f40-4888-827f-2feba602e379"/>
    <xsd:import namespace="0323e3e7-18dc-45e6-99d2-53fab8d99a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2:rzni" minOccurs="0"/>
                <xsd:element ref="ns2:f0ly" minOccurs="0"/>
                <xsd:element ref="ns3:SharedWithDetails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5c5d6-3f40-4888-827f-2feba602e3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rzni" ma:index="12" nillable="true" ma:displayName="Date and Time" ma:internalName="rzni">
      <xsd:simpleType>
        <xsd:restriction base="dms:DateTime"/>
      </xsd:simpleType>
    </xsd:element>
    <xsd:element name="f0ly" ma:index="13" nillable="true" ma:displayName="Person or Group" ma:list="UserInfo" ma:internalName="f0ly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23e3e7-18dc-45e6-99d2-53fab8d99a6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dc906492-6d0e-4e26-b089-5965b0bba648}" ma:internalName="TaxCatchAll" ma:showField="CatchAllData" ma:web="0323e3e7-18dc-45e6-99d2-53fab8d99a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C677089-0F61-4A3B-827B-C13FC83C6673}">
  <ds:schemaRefs>
    <ds:schemaRef ds:uri="0323e3e7-18dc-45e6-99d2-53fab8d99a6d"/>
    <ds:schemaRef ds:uri="fac5c5d6-3f40-4888-827f-2feba602e3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C80F207-BEB7-4D04-B584-A93E77C9D2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1D832FE-CFAE-4DCF-B29E-1DDCAD9BD3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5c5d6-3f40-4888-827f-2feba602e379"/>
    <ds:schemaRef ds:uri="0323e3e7-18dc-45e6-99d2-53fab8d99a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3</TotalTime>
  <Words>252</Words>
  <Application>Microsoft Office PowerPoint</Application>
  <PresentationFormat>A4 Paper (210x297 mm)</PresentationFormat>
  <Paragraphs>65</Paragraphs>
  <Slides>14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Tema de Office</vt:lpstr>
      <vt:lpstr>PowerPoint Presentation</vt:lpstr>
      <vt:lpstr>PowerPoint Presentation</vt:lpstr>
      <vt:lpstr>Introduc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er Benedit Martínez</dc:creator>
  <cp:lastModifiedBy>Elie Sarkis</cp:lastModifiedBy>
  <cp:revision>39</cp:revision>
  <dcterms:created xsi:type="dcterms:W3CDTF">2016-07-11T04:31:49Z</dcterms:created>
  <dcterms:modified xsi:type="dcterms:W3CDTF">2023-12-23T22:0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27C33CFCA74046A0A633136646FD5F</vt:lpwstr>
  </property>
  <property fmtid="{D5CDD505-2E9C-101B-9397-08002B2CF9AE}" pid="3" name="Order">
    <vt:r8>10326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emplateUrl">
    <vt:lpwstr/>
  </property>
  <property fmtid="{D5CDD505-2E9C-101B-9397-08002B2CF9AE}" pid="7" name="ComplianceAssetId">
    <vt:lpwstr/>
  </property>
  <property fmtid="{D5CDD505-2E9C-101B-9397-08002B2CF9AE}" pid="8" name="MediaServiceImageTags">
    <vt:lpwstr/>
  </property>
</Properties>
</file>